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slides/slide4.xml" ContentType="application/vnd.openxmlformats-officedocument.presentationml.slide+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5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Layouts/slideLayout51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7.xml" ContentType="application/vnd.openxmlformats-officedocument.presentationml.tags+xml"/>
  <Override PartName="/ppt/tags/tag1.xml" ContentType="application/vnd.openxmlformats-officedocument.presentationml.tags+xml"/>
  <Override PartName="/ppt/tags/tag4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3.xml" ContentType="application/vnd.openxmlformats-officedocument.presentationml.tags+xml"/>
  <Override PartName="/ppt/tags/tag6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3.xml" ContentType="application/vnd.openxmlformats-officedocument.presentationml.tags+xml"/>
  <Override PartName="/ppt/tags/tag5.xml" ContentType="application/vnd.openxmlformats-officedocument.presentationml.tags+xml"/>
  <Override PartName="/ppt/tags/tag2.xml" ContentType="application/vnd.openxmlformats-officedocument.presentationml.tags+xml"/>
  <Override PartName="/ppt/tags/tag12.xml" ContentType="application/vnd.openxmlformats-officedocument.presentationml.tags+xml"/>
  <Override PartName="/ppt/tags/tag8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  <p:sldMasterId id="2147483690" r:id="rId2"/>
    <p:sldMasterId id="2147483710" r:id="rId3"/>
    <p:sldMasterId id="2147483728" r:id="rId4"/>
  </p:sldMasterIdLst>
  <p:notesMasterIdLst>
    <p:notesMasterId r:id="rId9"/>
  </p:notesMasterIdLst>
  <p:handoutMasterIdLst>
    <p:handoutMasterId r:id="rId10"/>
  </p:handoutMasterIdLst>
  <p:sldIdLst>
    <p:sldId id="421" r:id="rId5"/>
    <p:sldId id="616" r:id="rId6"/>
    <p:sldId id="647" r:id="rId7"/>
    <p:sldId id="584" r:id="rId8"/>
  </p:sldIdLst>
  <p:sldSz cx="12192000" cy="6858000"/>
  <p:notesSz cx="6858000" cy="9144000"/>
  <p:custDataLst>
    <p:tags r:id="rId1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iyush Rathi1" initials="PR" lastIdx="1" clrIdx="4">
    <p:extLst/>
  </p:cmAuthor>
  <p:cmAuthor id="2" name="Vertika Rai" initials="VR" lastIdx="22" clrIdx="1">
    <p:extLst/>
  </p:cmAuthor>
  <p:cmAuthor id="3" name="Karan Ashara" initials="KA" lastIdx="34" clrIdx="2">
    <p:extLst/>
  </p:cmAuthor>
  <p:cmAuthor id="4" name="Parkar, Mandar (C)" initials="PM(" lastIdx="3" clrIdx="3">
    <p:extLst/>
  </p:cmAuthor>
  <p:cmAuthor id="5" name="Upadhyay, Saurabh" initials="US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59B"/>
    <a:srgbClr val="FE0000"/>
    <a:srgbClr val="FFFFFF"/>
    <a:srgbClr val="BAFFFB"/>
    <a:srgbClr val="F2F2F2"/>
    <a:srgbClr val="E9E9E9"/>
    <a:srgbClr val="00B4A7"/>
    <a:srgbClr val="C00000"/>
    <a:srgbClr val="00ABEB"/>
    <a:srgbClr val="FFCB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465" autoAdjust="0"/>
    <p:restoredTop sz="93883" autoAdjust="0"/>
  </p:normalViewPr>
  <p:slideViewPr>
    <p:cSldViewPr snapToGrid="0">
      <p:cViewPr varScale="1">
        <p:scale>
          <a:sx n="73" d="100"/>
          <a:sy n="73" d="100"/>
        </p:scale>
        <p:origin x="1674" y="84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702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openxmlformats.org/officeDocument/2006/relationships/customXml" Target="../customXml/item2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19" Type="http://schemas.openxmlformats.org/officeDocument/2006/relationships/customXml" Target="../customXml/item3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20-11-2019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20-11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jpe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/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1698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7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94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8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/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en-US" sz="1400" b="1" kern="0" cap="all">
                    <a:solidFill>
                      <a:srgbClr val="00A59B"/>
                    </a:solidFill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Delete’-button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i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see example below).</a:t>
                </a:r>
                <a:endPara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 the preferred image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and click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ert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Reset slide´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55155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>
                <a:solidFill>
                  <a:srgbClr val="FFFFFF"/>
                </a:solidFill>
              </a:rPr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08786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8341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25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85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7084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9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25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61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504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01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05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250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215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58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751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81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4997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7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46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SmartArt Tools - Forma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edit shape fills and line colors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/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find numerous settings for text lay-out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755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video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video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o scale or drag the video, go to the tab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Video Tools - Forma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 and click on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he button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Crop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3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b="1">
              <a:solidFill>
                <a:srgbClr val="000000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>
                    <a:solidFill>
                      <a:srgbClr val="FFFFFF"/>
                    </a:solidFill>
                    <a:latin typeface="Oswald" panose="02000503000000000000" pitchFamily="2" charset="0"/>
                  </a:rPr>
                  <a:t>Open this slide in the slideshow and click on the preferred YouTube-link</a:t>
                </a:r>
                <a:endParaRPr lang="en-US" sz="1000">
                  <a:solidFill>
                    <a:srgbClr val="FFFFFF"/>
                  </a:solidFill>
                  <a:latin typeface="Oswald" panose="02000503000000000000" pitchFamily="2" charset="0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C83"/>
              </a:buClr>
              <a:buFont typeface="Courier New" panose="02070309020205020404" pitchFamily="49" charset="0"/>
              <a:buNone/>
            </a:pP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dirty="0">
                <a:solidFill>
                  <a:srgbClr val="008C83"/>
                </a:solidFill>
              </a:rPr>
              <a:t>you can find instructions on the left and right hand side of the slide</a:t>
            </a:r>
            <a:endParaRPr lang="en-US" sz="120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62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r>
              <a:rPr lang="en-GB" sz="6349" b="1" dirty="0">
                <a:solidFill>
                  <a:srgbClr val="FFFFFF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249992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en-US" sz="1400" b="1" kern="0" cap="all">
                    <a:solidFill>
                      <a:srgbClr val="00A59B"/>
                    </a:solidFill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Delete’-button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i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see example below).</a:t>
                </a:r>
                <a:endPara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 the preferred image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and click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ert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Reset slide´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2444358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>
                <a:solidFill>
                  <a:srgbClr val="FFFFFF"/>
                </a:solidFill>
              </a:rPr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71462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0476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53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394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8076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77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967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6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448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37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726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13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760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17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809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0893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0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71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SmartArt Tools - Forma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edit shape fills and line colors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/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find numerous settings for text lay-out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83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video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video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o scale or drag the video, go to the tab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Video Tools - Forma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 and click on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he button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Crop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21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b="1">
              <a:solidFill>
                <a:srgbClr val="000000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>
                    <a:solidFill>
                      <a:srgbClr val="FFFFFF"/>
                    </a:solidFill>
                    <a:latin typeface="Oswald" panose="02000503000000000000" pitchFamily="2" charset="0"/>
                  </a:rPr>
                  <a:t>Open this slide in the slideshow and click on the preferred YouTube-link</a:t>
                </a:r>
                <a:endParaRPr lang="en-US" sz="1000">
                  <a:solidFill>
                    <a:srgbClr val="FFFFFF"/>
                  </a:solidFill>
                  <a:latin typeface="Oswald" panose="02000503000000000000" pitchFamily="2" charset="0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C83"/>
              </a:buClr>
              <a:buFont typeface="Courier New" panose="02070309020205020404" pitchFamily="49" charset="0"/>
              <a:buNone/>
            </a:pP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dirty="0">
                <a:solidFill>
                  <a:srgbClr val="008C83"/>
                </a:solidFill>
              </a:rPr>
              <a:t>you can find instructions on the left and right hand side of the slide</a:t>
            </a:r>
            <a:endParaRPr lang="en-US" sz="120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2199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r>
              <a:rPr lang="en-GB" sz="6349" b="1" dirty="0">
                <a:solidFill>
                  <a:srgbClr val="FFFFFF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30789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6" r:id="rId16"/>
    <p:sldLayoutId id="2147483709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>
              <a:solidFill>
                <a:srgbClr val="FFFFFF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smtClean="0">
                <a:solidFill>
                  <a:srgbClr val="008C83"/>
                </a:solidFill>
              </a:rPr>
              <a:pPr/>
              <a:t>‹#›</a:t>
            </a:fld>
            <a:endParaRPr lang="en-GB" dirty="0">
              <a:solidFill>
                <a:srgbClr val="008C83"/>
              </a:solidFill>
            </a:endParaRP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414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>
              <a:solidFill>
                <a:srgbClr val="FFFFFF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smtClean="0">
                <a:solidFill>
                  <a:srgbClr val="008C83"/>
                </a:solidFill>
              </a:rPr>
              <a:pPr/>
              <a:t>‹#›</a:t>
            </a:fld>
            <a:endParaRPr lang="en-GB" dirty="0">
              <a:solidFill>
                <a:srgbClr val="008C83"/>
              </a:solidFill>
            </a:endParaRP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791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hoek 69">
            <a:extLst>
              <a:ext uri="{FF2B5EF4-FFF2-40B4-BE49-F238E27FC236}">
                <a16:creationId xmlns:a16="http://schemas.microsoft.com/office/drawing/2014/main" id="{529DDD94-DE2F-4AA8-88E1-1B4BB698131E}"/>
              </a:ext>
            </a:extLst>
          </p:cNvPr>
          <p:cNvSpPr/>
          <p:nvPr/>
        </p:nvSpPr>
        <p:spPr>
          <a:xfrm>
            <a:off x="0" y="0"/>
            <a:ext cx="12192000" cy="1151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1" name="Afbeelding 70">
            <a:extLst>
              <a:ext uri="{FF2B5EF4-FFF2-40B4-BE49-F238E27FC236}">
                <a16:creationId xmlns:a16="http://schemas.microsoft.com/office/drawing/2014/main" id="{E1CA85DC-4DEF-47F2-9E6D-EB718A85D90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72" name="Rechthoek 71">
            <a:extLst>
              <a:ext uri="{FF2B5EF4-FFF2-40B4-BE49-F238E27FC236}">
                <a16:creationId xmlns:a16="http://schemas.microsoft.com/office/drawing/2014/main" id="{32160439-F406-4D6E-8C00-6C6E651235AD}"/>
              </a:ext>
            </a:extLst>
          </p:cNvPr>
          <p:cNvSpPr/>
          <p:nvPr/>
        </p:nvSpPr>
        <p:spPr>
          <a:xfrm rot="10800000" flipV="1">
            <a:off x="0" y="-216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ijdelijke aanduiding voor tekst 27">
            <a:extLst>
              <a:ext uri="{FF2B5EF4-FFF2-40B4-BE49-F238E27FC236}">
                <a16:creationId xmlns:a16="http://schemas.microsoft.com/office/drawing/2014/main" id="{45368125-8D6E-4328-929D-2ACE1A29C8D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1159174"/>
            <a:ext cx="8797839" cy="5698826"/>
          </a:xfrm>
        </p:spPr>
        <p:txBody>
          <a:bodyPr/>
          <a:lstStyle/>
          <a:p>
            <a:endParaRPr lang="en-GB" dirty="0">
              <a:noFill/>
            </a:endParaRP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B436DF22-24B8-475A-8692-C184ED83C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181" y="1951725"/>
            <a:ext cx="6844406" cy="1263618"/>
          </a:xfrm>
        </p:spPr>
        <p:txBody>
          <a:bodyPr/>
          <a:lstStyle/>
          <a:p>
            <a:r>
              <a:rPr lang="en-GB" dirty="0">
                <a:latin typeface="GothamBlack" charset="0"/>
              </a:rPr>
              <a:t>CPQ – </a:t>
            </a:r>
            <a:r>
              <a:rPr lang="en-GB" dirty="0" smtClean="0">
                <a:latin typeface="GothamBlack" charset="0"/>
              </a:rPr>
              <a:t>Asia Alignment</a:t>
            </a:r>
            <a:r>
              <a:rPr lang="en-GB" dirty="0">
                <a:latin typeface="GothamBlack" charset="0"/>
              </a:rPr>
              <a:t/>
            </a:r>
            <a:br>
              <a:rPr lang="en-GB" dirty="0">
                <a:latin typeface="GothamBlack" charset="0"/>
              </a:rPr>
            </a:br>
            <a:r>
              <a:rPr lang="en-GB" dirty="0">
                <a:latin typeface="GothamBlack" charset="0"/>
              </a:rPr>
              <a:t/>
            </a:r>
            <a:br>
              <a:rPr lang="en-GB" dirty="0">
                <a:latin typeface="GothamBlack" charset="0"/>
              </a:rPr>
            </a:br>
            <a:r>
              <a:rPr lang="en-GB" sz="2800" i="1" dirty="0">
                <a:latin typeface="GothamBlack" charset="0"/>
              </a:rPr>
              <a:t>Design and Mock Up</a:t>
            </a:r>
            <a:br>
              <a:rPr lang="en-GB" sz="2800" i="1" dirty="0">
                <a:latin typeface="GothamBlack" charset="0"/>
              </a:rPr>
            </a:br>
            <a:r>
              <a:rPr lang="en-GB" sz="2800" i="1" dirty="0" smtClean="0">
                <a:latin typeface="GothamBlack" charset="0"/>
              </a:rPr>
              <a:t>Nov </a:t>
            </a:r>
            <a:r>
              <a:rPr lang="en-GB" sz="2800" i="1" dirty="0">
                <a:latin typeface="GothamBlack" charset="0"/>
              </a:rPr>
              <a:t>‘19</a:t>
            </a:r>
            <a:endParaRPr lang="en-GB" dirty="0"/>
          </a:p>
        </p:txBody>
      </p:sp>
      <p:sp>
        <p:nvSpPr>
          <p:cNvPr id="29" name="Tijdelijke aanduiding voor tekst 28">
            <a:extLst>
              <a:ext uri="{FF2B5EF4-FFF2-40B4-BE49-F238E27FC236}">
                <a16:creationId xmlns:a16="http://schemas.microsoft.com/office/drawing/2014/main" id="{9268398B-03CD-446A-A535-ED5D1462F9D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0AFBD613-E4E9-4EE8-B1CB-1F6B50F72820}"/>
              </a:ext>
            </a:extLst>
          </p:cNvPr>
          <p:cNvSpPr/>
          <p:nvPr/>
        </p:nvSpPr>
        <p:spPr>
          <a:xfrm>
            <a:off x="10894100" y="71407"/>
            <a:ext cx="12875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C82D2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t confidential</a:t>
            </a:r>
          </a:p>
        </p:txBody>
      </p:sp>
    </p:spTree>
    <p:extLst>
      <p:ext uri="{BB962C8B-B14F-4D97-AF65-F5344CB8AC3E}">
        <p14:creationId xmlns:p14="http://schemas.microsoft.com/office/powerpoint/2010/main" val="70421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2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1600" dirty="0"/>
              <a:t>Document Release and Change Log Detail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5643071"/>
              </p:ext>
            </p:extLst>
          </p:nvPr>
        </p:nvGraphicFramePr>
        <p:xfrm>
          <a:off x="381217" y="620204"/>
          <a:ext cx="11429562" cy="1990191"/>
        </p:xfrm>
        <a:graphic>
          <a:graphicData uri="http://schemas.openxmlformats.org/drawingml/2006/table">
            <a:tbl>
              <a:tblPr/>
              <a:tblGrid>
                <a:gridCol w="16324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971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439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PQ Asia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23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rsion Number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6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85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aseline="0" dirty="0" smtClean="0">
                          <a:latin typeface="+mj-lt"/>
                        </a:rPr>
                        <a:t>20th Nov, </a:t>
                      </a:r>
                      <a:r>
                        <a:rPr lang="en-GB" sz="1400" baseline="0" dirty="0">
                          <a:latin typeface="+mj-lt"/>
                        </a:rPr>
                        <a:t>2019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63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log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en-I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nual Connectivity- Explore journey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en-IN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+mj-lt"/>
                        <a:buAutoNum type="arabicPeriod" startAt="2"/>
                        <a:tabLst/>
                      </a:pPr>
                      <a:endParaRPr kumimoji="0" lang="en-I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286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591497" y="1173689"/>
            <a:ext cx="10800000" cy="4665600"/>
          </a:xfrm>
        </p:spPr>
        <p:txBody>
          <a:bodyPr/>
          <a:lstStyle/>
          <a:p>
            <a:r>
              <a:rPr lang="en-US" dirty="0" smtClean="0"/>
              <a:t>User Profile</a:t>
            </a:r>
          </a:p>
          <a:p>
            <a:pPr lvl="1"/>
            <a:r>
              <a:rPr lang="en-US" dirty="0" smtClean="0"/>
              <a:t>In Asia , Commercial Operation team work on the Manual OLO request . No new user profiles will be created. New user ids  will be mapped to the existing ONQT profile and access to respective queue/s should be given</a:t>
            </a:r>
          </a:p>
          <a:p>
            <a:pPr lvl="1"/>
            <a:r>
              <a:rPr lang="en-US" dirty="0" smtClean="0"/>
              <a:t>In Asia , NPT is responsible for the manual BCP request . </a:t>
            </a:r>
            <a:r>
              <a:rPr lang="en-US" dirty="0"/>
              <a:t>No new user profiles will be created. New user id will be mapped to the existing </a:t>
            </a:r>
            <a:r>
              <a:rPr lang="en-US" dirty="0" err="1" smtClean="0"/>
              <a:t>Fibre</a:t>
            </a:r>
            <a:r>
              <a:rPr lang="en-US" dirty="0" smtClean="0"/>
              <a:t> planning(BCP) profile </a:t>
            </a:r>
            <a:r>
              <a:rPr lang="en-US" dirty="0"/>
              <a:t>and access to respective </a:t>
            </a:r>
            <a:r>
              <a:rPr lang="en-US" dirty="0" smtClean="0"/>
              <a:t>queue/s </a:t>
            </a:r>
            <a:r>
              <a:rPr lang="en-US" dirty="0"/>
              <a:t>should be given</a:t>
            </a:r>
            <a:endParaRPr lang="en-US" dirty="0" smtClean="0"/>
          </a:p>
          <a:p>
            <a:r>
              <a:rPr lang="en-US" dirty="0" smtClean="0"/>
              <a:t>Queue Management </a:t>
            </a:r>
            <a:endParaRPr lang="en-US" dirty="0"/>
          </a:p>
          <a:p>
            <a:pPr lvl="1"/>
            <a:r>
              <a:rPr lang="en-US" dirty="0" smtClean="0"/>
              <a:t>Global Reach – Remove </a:t>
            </a:r>
            <a:r>
              <a:rPr lang="en-US" dirty="0"/>
              <a:t>‘Japan’, Hong Kong’, Singapore’ and ‘South Korea</a:t>
            </a:r>
            <a:r>
              <a:rPr lang="en-US" dirty="0" smtClean="0"/>
              <a:t>’ countries from Global reach queue</a:t>
            </a:r>
          </a:p>
          <a:p>
            <a:pPr lvl="1"/>
            <a:r>
              <a:rPr lang="en-US" dirty="0" smtClean="0"/>
              <a:t>New ‘region filter’ called ‘Colt Asia’ will be created. This filter will be used for manual OLO request for ‘Japan’, Hong Kong’, Singapore’ and ‘South Korea’</a:t>
            </a:r>
          </a:p>
          <a:p>
            <a:pPr lvl="1"/>
            <a:r>
              <a:rPr lang="en-US" dirty="0" smtClean="0"/>
              <a:t>User id to region mapping to NPT team</a:t>
            </a:r>
          </a:p>
          <a:p>
            <a:pPr lvl="0"/>
            <a:r>
              <a:rPr lang="en-GB" dirty="0" smtClean="0"/>
              <a:t>No </a:t>
            </a:r>
            <a:r>
              <a:rPr lang="en-GB" dirty="0"/>
              <a:t>Change in </a:t>
            </a:r>
            <a:r>
              <a:rPr lang="en-GB" dirty="0" smtClean="0"/>
              <a:t>the cost </a:t>
            </a:r>
            <a:r>
              <a:rPr lang="en-GB" dirty="0"/>
              <a:t>creation </a:t>
            </a:r>
            <a:r>
              <a:rPr lang="en-GB" dirty="0" smtClean="0"/>
              <a:t>module</a:t>
            </a:r>
            <a:endParaRPr lang="en-GB" dirty="0"/>
          </a:p>
          <a:p>
            <a:pPr marL="263525" lvl="1" indent="0">
              <a:buNone/>
            </a:pPr>
            <a:endParaRPr lang="en-GB" dirty="0"/>
          </a:p>
          <a:p>
            <a:pPr marL="263525" lvl="1" indent="0">
              <a:buNone/>
            </a:pPr>
            <a:endParaRPr lang="en-US" dirty="0"/>
          </a:p>
          <a:p>
            <a:pPr lvl="1"/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3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PQ Asia: </a:t>
            </a:r>
            <a:r>
              <a:rPr lang="en-US" dirty="0" err="1" smtClean="0"/>
              <a:t>eXplore</a:t>
            </a:r>
            <a:r>
              <a:rPr lang="en-US" dirty="0" smtClean="0"/>
              <a:t> Chang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370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671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3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1C6D3D9588334DBADF6A4394F92A1A" ma:contentTypeVersion="915" ma:contentTypeDescription="Create a new document." ma:contentTypeScope="" ma:versionID="7654ba59b25d4f121c231d8ce332aa67">
  <xsd:schema xmlns:xsd="http://www.w3.org/2001/XMLSchema" xmlns:xs="http://www.w3.org/2001/XMLSchema" xmlns:p="http://schemas.microsoft.com/office/2006/metadata/properties" xmlns:ns2="450c2c13-7744-47da-b0b3-ec9a261364d9" xmlns:ns3="bfb1d42a-be00-49d6-98c3-ab38162f85f2" targetNamespace="http://schemas.microsoft.com/office/2006/metadata/properties" ma:root="true" ma:fieldsID="7de171cb582de5035ab811f51f095a2c" ns2:_="" ns3:_="">
    <xsd:import namespace="450c2c13-7744-47da-b0b3-ec9a261364d9"/>
    <xsd:import namespace="bfb1d42a-be00-49d6-98c3-ab38162f85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0c2c13-7744-47da-b0b3-ec9a261364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b1d42a-be00-49d6-98c3-ab38162f85f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3088657-EC5D-4703-ACE7-0EF6DE7E7724}"/>
</file>

<file path=customXml/itemProps2.xml><?xml version="1.0" encoding="utf-8"?>
<ds:datastoreItem xmlns:ds="http://schemas.openxmlformats.org/officeDocument/2006/customXml" ds:itemID="{894C2318-56FE-4B34-8805-82C29B26F59C}"/>
</file>

<file path=customXml/itemProps3.xml><?xml version="1.0" encoding="utf-8"?>
<ds:datastoreItem xmlns:ds="http://schemas.openxmlformats.org/officeDocument/2006/customXml" ds:itemID="{CDB6261B-80B7-4057-83EF-848486EFEAC0}"/>
</file>

<file path=docProps/app.xml><?xml version="1.0" encoding="utf-8"?>
<Properties xmlns="http://schemas.openxmlformats.org/officeDocument/2006/extended-properties" xmlns:vt="http://schemas.openxmlformats.org/officeDocument/2006/docPropsVTypes">
  <TotalTime>34598</TotalTime>
  <Words>194</Words>
  <Application>Microsoft Office PowerPoint</Application>
  <PresentationFormat>Widescreen</PresentationFormat>
  <Paragraphs>22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7" baseType="lpstr">
      <vt:lpstr>Arial</vt:lpstr>
      <vt:lpstr>Calibri</vt:lpstr>
      <vt:lpstr>Courier New</vt:lpstr>
      <vt:lpstr>GothamBlack</vt:lpstr>
      <vt:lpstr>Open Sans</vt:lpstr>
      <vt:lpstr>Oswald</vt:lpstr>
      <vt:lpstr>Segoe UI Light</vt:lpstr>
      <vt:lpstr>Wingdings</vt:lpstr>
      <vt:lpstr>Corporate template-set COLT</vt:lpstr>
      <vt:lpstr>1_Corporate template-set COLT</vt:lpstr>
      <vt:lpstr>2_Corporate template-set COLT</vt:lpstr>
      <vt:lpstr>3_Corporate template-set COLT</vt:lpstr>
      <vt:lpstr>think-cell Slide</vt:lpstr>
      <vt:lpstr>CPQ – Asia Alignment  Design and Mock Up Nov ‘19</vt:lpstr>
      <vt:lpstr>Document Release and Change Log Details</vt:lpstr>
      <vt:lpstr>CPQ Asia: eXplore Changes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Upadhyay, Saurabh</cp:lastModifiedBy>
  <cp:revision>1758</cp:revision>
  <dcterms:created xsi:type="dcterms:W3CDTF">2017-08-30T16:21:34Z</dcterms:created>
  <dcterms:modified xsi:type="dcterms:W3CDTF">2019-11-20T13:5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LPManualFileClassification">
    <vt:lpwstr>{1A067545-A4E2-4FA1-8094-0D7902669705}</vt:lpwstr>
  </property>
  <property fmtid="{D5CDD505-2E9C-101B-9397-08002B2CF9AE}" pid="3" name="DLPManualFileClassificationLastModifiedBy">
    <vt:lpwstr>TECHMAHINDRA\PR00623017</vt:lpwstr>
  </property>
  <property fmtid="{D5CDD505-2E9C-101B-9397-08002B2CF9AE}" pid="4" name="DLPManualFileClassificationLastModificationDate">
    <vt:lpwstr>1567770010</vt:lpwstr>
  </property>
  <property fmtid="{D5CDD505-2E9C-101B-9397-08002B2CF9AE}" pid="5" name="DLPManualFileClassificationVersion">
    <vt:lpwstr>11.1.0.61</vt:lpwstr>
  </property>
  <property fmtid="{D5CDD505-2E9C-101B-9397-08002B2CF9AE}" pid="6" name="ContentTypeId">
    <vt:lpwstr>0x010100A11C6D3D9588334DBADF6A4394F92A1A</vt:lpwstr>
  </property>
</Properties>
</file>